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2E4270-BC41-4A25-94EF-E9C992294596}" v="49" dt="2023-03-15T23:08:38.60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6" d="100"/>
          <a:sy n="116" d="100"/>
        </p:scale>
        <p:origin x="120" y="588"/>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7D2E4270-BC41-4A25-94EF-E9C992294596}"/>
    <pc:docChg chg="modSld">
      <pc:chgData name="Roberto Gallardo" userId="49a044883f185952" providerId="LiveId" clId="{7D2E4270-BC41-4A25-94EF-E9C992294596}" dt="2023-03-15T23:08:49.892" v="181" actId="1076"/>
      <pc:docMkLst>
        <pc:docMk/>
      </pc:docMkLst>
      <pc:sldChg chg="addSp modSp mod">
        <pc:chgData name="Roberto Gallardo" userId="49a044883f185952" providerId="LiveId" clId="{7D2E4270-BC41-4A25-94EF-E9C992294596}" dt="2023-03-15T23:04:00.585" v="9" actId="1076"/>
        <pc:sldMkLst>
          <pc:docMk/>
          <pc:sldMk cId="1418533539" sldId="271"/>
        </pc:sldMkLst>
        <pc:picChg chg="add mod">
          <ac:chgData name="Roberto Gallardo" userId="49a044883f185952" providerId="LiveId" clId="{7D2E4270-BC41-4A25-94EF-E9C992294596}" dt="2023-03-15T23:04:00.585" v="9" actId="1076"/>
          <ac:picMkLst>
            <pc:docMk/>
            <pc:sldMk cId="1418533539" sldId="271"/>
            <ac:picMk id="6" creationId="{A20EDB83-7F3A-2337-103D-BB09D8EE1FB8}"/>
          </ac:picMkLst>
        </pc:picChg>
      </pc:sldChg>
      <pc:sldChg chg="addSp modSp mod">
        <pc:chgData name="Roberto Gallardo" userId="49a044883f185952" providerId="LiveId" clId="{7D2E4270-BC41-4A25-94EF-E9C992294596}" dt="2023-03-15T23:05:44.677" v="63" actId="1076"/>
        <pc:sldMkLst>
          <pc:docMk/>
          <pc:sldMk cId="2124848710" sldId="281"/>
        </pc:sldMkLst>
        <pc:picChg chg="add mod">
          <ac:chgData name="Roberto Gallardo" userId="49a044883f185952" providerId="LiveId" clId="{7D2E4270-BC41-4A25-94EF-E9C992294596}" dt="2023-03-15T23:05:44.677" v="63" actId="1076"/>
          <ac:picMkLst>
            <pc:docMk/>
            <pc:sldMk cId="2124848710" sldId="281"/>
            <ac:picMk id="6" creationId="{2A1FEA90-BB0A-2501-A8CD-6B76E694068F}"/>
          </ac:picMkLst>
        </pc:picChg>
      </pc:sldChg>
      <pc:sldChg chg="addSp modSp mod">
        <pc:chgData name="Roberto Gallardo" userId="49a044883f185952" providerId="LiveId" clId="{7D2E4270-BC41-4A25-94EF-E9C992294596}" dt="2023-03-15T23:06:00.412" v="71" actId="1076"/>
        <pc:sldMkLst>
          <pc:docMk/>
          <pc:sldMk cId="2028175529" sldId="282"/>
        </pc:sldMkLst>
        <pc:picChg chg="add mod">
          <ac:chgData name="Roberto Gallardo" userId="49a044883f185952" providerId="LiveId" clId="{7D2E4270-BC41-4A25-94EF-E9C992294596}" dt="2023-03-15T23:06:00.412" v="71" actId="1076"/>
          <ac:picMkLst>
            <pc:docMk/>
            <pc:sldMk cId="2028175529" sldId="282"/>
            <ac:picMk id="7" creationId="{9D127257-5DAB-D4FB-7CB8-E48D0D0F7EBF}"/>
          </ac:picMkLst>
        </pc:picChg>
      </pc:sldChg>
      <pc:sldChg chg="addSp modSp mod">
        <pc:chgData name="Roberto Gallardo" userId="49a044883f185952" providerId="LiveId" clId="{7D2E4270-BC41-4A25-94EF-E9C992294596}" dt="2023-03-15T23:06:17.662" v="82" actId="1076"/>
        <pc:sldMkLst>
          <pc:docMk/>
          <pc:sldMk cId="1326517747" sldId="283"/>
        </pc:sldMkLst>
        <pc:picChg chg="add mod">
          <ac:chgData name="Roberto Gallardo" userId="49a044883f185952" providerId="LiveId" clId="{7D2E4270-BC41-4A25-94EF-E9C992294596}" dt="2023-03-15T23:06:17.662" v="82" actId="1076"/>
          <ac:picMkLst>
            <pc:docMk/>
            <pc:sldMk cId="1326517747" sldId="283"/>
            <ac:picMk id="7" creationId="{EED2F2A8-3488-E956-D719-56ADEA1B8A5E}"/>
          </ac:picMkLst>
        </pc:picChg>
      </pc:sldChg>
      <pc:sldChg chg="addSp modSp mod">
        <pc:chgData name="Roberto Gallardo" userId="49a044883f185952" providerId="LiveId" clId="{7D2E4270-BC41-4A25-94EF-E9C992294596}" dt="2023-03-15T23:06:33.433" v="91" actId="1076"/>
        <pc:sldMkLst>
          <pc:docMk/>
          <pc:sldMk cId="783739251" sldId="284"/>
        </pc:sldMkLst>
        <pc:picChg chg="add mod">
          <ac:chgData name="Roberto Gallardo" userId="49a044883f185952" providerId="LiveId" clId="{7D2E4270-BC41-4A25-94EF-E9C992294596}" dt="2023-03-15T23:06:33.433" v="91" actId="1076"/>
          <ac:picMkLst>
            <pc:docMk/>
            <pc:sldMk cId="783739251" sldId="284"/>
            <ac:picMk id="7" creationId="{9026FAA7-A6A4-9E47-D19B-F29FEE06D6E9}"/>
          </ac:picMkLst>
        </pc:picChg>
      </pc:sldChg>
      <pc:sldChg chg="addSp modSp mod">
        <pc:chgData name="Roberto Gallardo" userId="49a044883f185952" providerId="LiveId" clId="{7D2E4270-BC41-4A25-94EF-E9C992294596}" dt="2023-03-15T23:06:48.817" v="101" actId="1076"/>
        <pc:sldMkLst>
          <pc:docMk/>
          <pc:sldMk cId="1676122233" sldId="285"/>
        </pc:sldMkLst>
        <pc:picChg chg="add mod">
          <ac:chgData name="Roberto Gallardo" userId="49a044883f185952" providerId="LiveId" clId="{7D2E4270-BC41-4A25-94EF-E9C992294596}" dt="2023-03-15T23:06:48.817" v="101" actId="1076"/>
          <ac:picMkLst>
            <pc:docMk/>
            <pc:sldMk cId="1676122233" sldId="285"/>
            <ac:picMk id="7" creationId="{A70E9DB5-F533-B609-8116-383479D9F29E}"/>
          </ac:picMkLst>
        </pc:picChg>
      </pc:sldChg>
      <pc:sldChg chg="addSp modSp mod">
        <pc:chgData name="Roberto Gallardo" userId="49a044883f185952" providerId="LiveId" clId="{7D2E4270-BC41-4A25-94EF-E9C992294596}" dt="2023-03-15T23:07:06.896" v="114" actId="1076"/>
        <pc:sldMkLst>
          <pc:docMk/>
          <pc:sldMk cId="3100398757" sldId="286"/>
        </pc:sldMkLst>
        <pc:picChg chg="add mod">
          <ac:chgData name="Roberto Gallardo" userId="49a044883f185952" providerId="LiveId" clId="{7D2E4270-BC41-4A25-94EF-E9C992294596}" dt="2023-03-15T23:07:06.896" v="114" actId="1076"/>
          <ac:picMkLst>
            <pc:docMk/>
            <pc:sldMk cId="3100398757" sldId="286"/>
            <ac:picMk id="7" creationId="{A21C3750-628A-DF77-76BC-F01944F7522C}"/>
          </ac:picMkLst>
        </pc:picChg>
      </pc:sldChg>
      <pc:sldChg chg="addSp modSp mod">
        <pc:chgData name="Roberto Gallardo" userId="49a044883f185952" providerId="LiveId" clId="{7D2E4270-BC41-4A25-94EF-E9C992294596}" dt="2023-03-15T23:07:20.337" v="122" actId="1076"/>
        <pc:sldMkLst>
          <pc:docMk/>
          <pc:sldMk cId="1546475425" sldId="287"/>
        </pc:sldMkLst>
        <pc:picChg chg="add mod">
          <ac:chgData name="Roberto Gallardo" userId="49a044883f185952" providerId="LiveId" clId="{7D2E4270-BC41-4A25-94EF-E9C992294596}" dt="2023-03-15T23:07:20.337" v="122" actId="1076"/>
          <ac:picMkLst>
            <pc:docMk/>
            <pc:sldMk cId="1546475425" sldId="287"/>
            <ac:picMk id="7" creationId="{0741F47F-D1C9-25AD-7B47-3E827F214DB5}"/>
          </ac:picMkLst>
        </pc:picChg>
      </pc:sldChg>
      <pc:sldChg chg="addSp modSp mod">
        <pc:chgData name="Roberto Gallardo" userId="49a044883f185952" providerId="LiveId" clId="{7D2E4270-BC41-4A25-94EF-E9C992294596}" dt="2023-03-15T23:07:52.236" v="143" actId="1076"/>
        <pc:sldMkLst>
          <pc:docMk/>
          <pc:sldMk cId="1380517306" sldId="288"/>
        </pc:sldMkLst>
        <pc:picChg chg="add mod">
          <ac:chgData name="Roberto Gallardo" userId="49a044883f185952" providerId="LiveId" clId="{7D2E4270-BC41-4A25-94EF-E9C992294596}" dt="2023-03-15T23:07:52.236" v="143" actId="1076"/>
          <ac:picMkLst>
            <pc:docMk/>
            <pc:sldMk cId="1380517306" sldId="288"/>
            <ac:picMk id="7" creationId="{25AA0A29-DD2A-9C8D-6EF7-DBB05A746679}"/>
          </ac:picMkLst>
        </pc:picChg>
      </pc:sldChg>
      <pc:sldChg chg="addSp modSp mod">
        <pc:chgData name="Roberto Gallardo" userId="49a044883f185952" providerId="LiveId" clId="{7D2E4270-BC41-4A25-94EF-E9C992294596}" dt="2023-03-15T23:08:05.413" v="151" actId="1076"/>
        <pc:sldMkLst>
          <pc:docMk/>
          <pc:sldMk cId="1388671151" sldId="289"/>
        </pc:sldMkLst>
        <pc:picChg chg="add mod">
          <ac:chgData name="Roberto Gallardo" userId="49a044883f185952" providerId="LiveId" clId="{7D2E4270-BC41-4A25-94EF-E9C992294596}" dt="2023-03-15T23:08:05.413" v="151" actId="1076"/>
          <ac:picMkLst>
            <pc:docMk/>
            <pc:sldMk cId="1388671151" sldId="289"/>
            <ac:picMk id="7" creationId="{0BC772D3-F165-28F0-847D-7A0E24B8D946}"/>
          </ac:picMkLst>
        </pc:picChg>
      </pc:sldChg>
      <pc:sldChg chg="addSp modSp mod">
        <pc:chgData name="Roberto Gallardo" userId="49a044883f185952" providerId="LiveId" clId="{7D2E4270-BC41-4A25-94EF-E9C992294596}" dt="2023-03-15T23:08:32.774" v="169" actId="1076"/>
        <pc:sldMkLst>
          <pc:docMk/>
          <pc:sldMk cId="2355376039" sldId="290"/>
        </pc:sldMkLst>
        <pc:picChg chg="add mod">
          <ac:chgData name="Roberto Gallardo" userId="49a044883f185952" providerId="LiveId" clId="{7D2E4270-BC41-4A25-94EF-E9C992294596}" dt="2023-03-15T23:08:32.774" v="169" actId="1076"/>
          <ac:picMkLst>
            <pc:docMk/>
            <pc:sldMk cId="2355376039" sldId="290"/>
            <ac:picMk id="8" creationId="{7FC038FB-899C-F353-60F0-7445F7597FF3}"/>
          </ac:picMkLst>
        </pc:picChg>
      </pc:sldChg>
      <pc:sldChg chg="addSp modSp mod">
        <pc:chgData name="Roberto Gallardo" userId="49a044883f185952" providerId="LiveId" clId="{7D2E4270-BC41-4A25-94EF-E9C992294596}" dt="2023-03-15T23:08:49.892" v="181" actId="1076"/>
        <pc:sldMkLst>
          <pc:docMk/>
          <pc:sldMk cId="3757257295" sldId="291"/>
        </pc:sldMkLst>
        <pc:picChg chg="add mod">
          <ac:chgData name="Roberto Gallardo" userId="49a044883f185952" providerId="LiveId" clId="{7D2E4270-BC41-4A25-94EF-E9C992294596}" dt="2023-03-15T23:08:49.892" v="181" actId="1076"/>
          <ac:picMkLst>
            <pc:docMk/>
            <pc:sldMk cId="3757257295" sldId="291"/>
            <ac:picMk id="8" creationId="{84A559E8-B265-E198-9AC8-1C606A287AFF}"/>
          </ac:picMkLst>
        </pc:picChg>
      </pc:sldChg>
      <pc:sldChg chg="addSp modSp mod">
        <pc:chgData name="Roberto Gallardo" userId="49a044883f185952" providerId="LiveId" clId="{7D2E4270-BC41-4A25-94EF-E9C992294596}" dt="2023-03-15T23:07:36.313" v="133" actId="1076"/>
        <pc:sldMkLst>
          <pc:docMk/>
          <pc:sldMk cId="1259856727" sldId="292"/>
        </pc:sldMkLst>
        <pc:picChg chg="add mod">
          <ac:chgData name="Roberto Gallardo" userId="49a044883f185952" providerId="LiveId" clId="{7D2E4270-BC41-4A25-94EF-E9C992294596}" dt="2023-03-15T23:07:36.313" v="133" actId="1076"/>
          <ac:picMkLst>
            <pc:docMk/>
            <pc:sldMk cId="1259856727" sldId="292"/>
            <ac:picMk id="7" creationId="{A826F85A-1755-027F-F7AD-A1D166C83537}"/>
          </ac:picMkLst>
        </pc:picChg>
      </pc:sldChg>
      <pc:sldChg chg="addSp modSp mod">
        <pc:chgData name="Roberto Gallardo" userId="49a044883f185952" providerId="LiveId" clId="{7D2E4270-BC41-4A25-94EF-E9C992294596}" dt="2023-03-15T23:05:26.036" v="54" actId="1076"/>
        <pc:sldMkLst>
          <pc:docMk/>
          <pc:sldMk cId="3324519687" sldId="293"/>
        </pc:sldMkLst>
        <pc:picChg chg="add mod">
          <ac:chgData name="Roberto Gallardo" userId="49a044883f185952" providerId="LiveId" clId="{7D2E4270-BC41-4A25-94EF-E9C992294596}" dt="2023-03-15T23:05:26.036" v="54" actId="1076"/>
          <ac:picMkLst>
            <pc:docMk/>
            <pc:sldMk cId="3324519687" sldId="293"/>
            <ac:picMk id="7" creationId="{8A37CFFE-75EE-E484-D568-90BD0770C0A3}"/>
          </ac:picMkLst>
        </pc:picChg>
      </pc:sldChg>
      <pc:sldChg chg="addSp modSp mod">
        <pc:chgData name="Roberto Gallardo" userId="49a044883f185952" providerId="LiveId" clId="{7D2E4270-BC41-4A25-94EF-E9C992294596}" dt="2023-03-15T23:04:55.364" v="37" actId="1076"/>
        <pc:sldMkLst>
          <pc:docMk/>
          <pc:sldMk cId="3256182630" sldId="295"/>
        </pc:sldMkLst>
        <pc:picChg chg="add mod">
          <ac:chgData name="Roberto Gallardo" userId="49a044883f185952" providerId="LiveId" clId="{7D2E4270-BC41-4A25-94EF-E9C992294596}" dt="2023-03-15T23:04:55.364" v="37" actId="1076"/>
          <ac:picMkLst>
            <pc:docMk/>
            <pc:sldMk cId="3256182630" sldId="295"/>
            <ac:picMk id="7" creationId="{26D09CF1-6688-DEF3-2FA3-9FF13DA9ADBE}"/>
          </ac:picMkLst>
        </pc:picChg>
      </pc:sldChg>
      <pc:sldChg chg="addSp modSp mod">
        <pc:chgData name="Roberto Gallardo" userId="49a044883f185952" providerId="LiveId" clId="{7D2E4270-BC41-4A25-94EF-E9C992294596}" dt="2023-03-15T23:05:10.070" v="44" actId="1076"/>
        <pc:sldMkLst>
          <pc:docMk/>
          <pc:sldMk cId="4057156843" sldId="296"/>
        </pc:sldMkLst>
        <pc:picChg chg="add mod">
          <ac:chgData name="Roberto Gallardo" userId="49a044883f185952" providerId="LiveId" clId="{7D2E4270-BC41-4A25-94EF-E9C992294596}" dt="2023-03-15T23:05:10.070" v="44" actId="1076"/>
          <ac:picMkLst>
            <pc:docMk/>
            <pc:sldMk cId="4057156843" sldId="296"/>
            <ac:picMk id="7" creationId="{F9DFFF34-DD4F-11DC-792C-66BA6892DCD3}"/>
          </ac:picMkLst>
        </pc:picChg>
      </pc:sldChg>
      <pc:sldChg chg="addSp modSp mod">
        <pc:chgData name="Roberto Gallardo" userId="49a044883f185952" providerId="LiveId" clId="{7D2E4270-BC41-4A25-94EF-E9C992294596}" dt="2023-03-15T23:04:36.848" v="27" actId="1076"/>
        <pc:sldMkLst>
          <pc:docMk/>
          <pc:sldMk cId="2080110827" sldId="297"/>
        </pc:sldMkLst>
        <pc:picChg chg="add mod">
          <ac:chgData name="Roberto Gallardo" userId="49a044883f185952" providerId="LiveId" clId="{7D2E4270-BC41-4A25-94EF-E9C992294596}" dt="2023-03-15T23:04:36.848" v="27" actId="1076"/>
          <ac:picMkLst>
            <pc:docMk/>
            <pc:sldMk cId="2080110827" sldId="297"/>
            <ac:picMk id="6" creationId="{FB5F4A60-BA4F-A78C-DC87-CD610D333E02}"/>
          </ac:picMkLst>
        </pc:picChg>
      </pc:sldChg>
      <pc:sldChg chg="addSp modSp mod">
        <pc:chgData name="Roberto Gallardo" userId="49a044883f185952" providerId="LiveId" clId="{7D2E4270-BC41-4A25-94EF-E9C992294596}" dt="2023-03-15T23:04:20.921" v="19" actId="1076"/>
        <pc:sldMkLst>
          <pc:docMk/>
          <pc:sldMk cId="1532666867" sldId="298"/>
        </pc:sldMkLst>
        <pc:picChg chg="add mod">
          <ac:chgData name="Roberto Gallardo" userId="49a044883f185952" providerId="LiveId" clId="{7D2E4270-BC41-4A25-94EF-E9C992294596}" dt="2023-03-15T23:04:20.921" v="19" actId="1076"/>
          <ac:picMkLst>
            <pc:docMk/>
            <pc:sldMk cId="1532666867" sldId="298"/>
            <ac:picMk id="6" creationId="{21D25DD1-48FB-1126-FF03-B8EFB7224DB6}"/>
          </ac:picMkLst>
        </pc:picChg>
      </pc:sldChg>
      <pc:sldChg chg="addSp modSp mod">
        <pc:chgData name="Roberto Gallardo" userId="49a044883f185952" providerId="LiveId" clId="{7D2E4270-BC41-4A25-94EF-E9C992294596}" dt="2023-03-15T23:08:19.900" v="161" actId="1076"/>
        <pc:sldMkLst>
          <pc:docMk/>
          <pc:sldMk cId="1951376777" sldId="299"/>
        </pc:sldMkLst>
        <pc:picChg chg="add mod">
          <ac:chgData name="Roberto Gallardo" userId="49a044883f185952" providerId="LiveId" clId="{7D2E4270-BC41-4A25-94EF-E9C992294596}" dt="2023-03-15T23:08:19.900" v="161" actId="1076"/>
          <ac:picMkLst>
            <pc:docMk/>
            <pc:sldMk cId="1951376777" sldId="299"/>
            <ac:picMk id="7" creationId="{B275950F-C48B-ED1D-56DA-946EC8B3A818}"/>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a:solidFill>
                  <a:schemeClr val="bg1"/>
                </a:solidFill>
              </a:rPr>
              <a:t>Graham </a:t>
            </a:r>
            <a:r>
              <a:rPr lang="en-US" sz="4000" dirty="0">
                <a:solidFill>
                  <a:schemeClr val="bg1"/>
                </a:solidFill>
              </a:rPr>
              <a:t>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7530181-3D2B-B142-3352-D57855696186}"/>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26CAED65-33E4-85A3-DB55-2DB21340034F}"/>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A20EDB83-7F3A-2337-103D-BB09D8EE1F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21D25DD1-48FB-1126-FF03-B8EFB7224D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32846"/>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FB5F4A60-BA4F-A78C-DC87-CD610D333E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04711CC4-AF94-60D3-5FA3-FF8F843A2283}"/>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26D09CF1-6688-DEF3-2FA3-9FF13DA9AD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6523"/>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4AFADD68-6A87-5190-0B9D-86F51C5C4292}"/>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F9DFFF34-DD4F-11DC-792C-66BA6892DC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32514"/>
            <a:ext cx="6400800"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494A5502-0CDA-9144-0D44-52886676EE70}"/>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8A37CFFE-75EE-E484-D568-90BD0770C0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DA3475FE-2485-571A-BA94-1B18321932DC}"/>
              </a:ext>
            </a:extLst>
          </p:cNvPr>
          <p:cNvPicPr/>
          <p:nvPr/>
        </p:nvPicPr>
        <p:blipFill>
          <a:blip r:embed="rId2"/>
          <a:stretch>
            <a:fillRect/>
          </a:stretch>
        </p:blipFill>
        <p:spPr>
          <a:xfrm>
            <a:off x="152400" y="1783080"/>
            <a:ext cx="5297356" cy="3799114"/>
          </a:xfrm>
          <a:prstGeom prst="rect">
            <a:avLst/>
          </a:prstGeom>
        </p:spPr>
      </p:pic>
      <p:pic>
        <p:nvPicPr>
          <p:cNvPr id="6" name="Picture 5" descr="Map&#10;&#10;Description automatically generated">
            <a:extLst>
              <a:ext uri="{FF2B5EF4-FFF2-40B4-BE49-F238E27FC236}">
                <a16:creationId xmlns:a16="http://schemas.microsoft.com/office/drawing/2014/main" id="{2A1FEA90-BB0A-2501-A8CD-6B76E69406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A68E3CE-63CA-EC32-21F5-6212041C7C5E}"/>
              </a:ext>
            </a:extLst>
          </p:cNvPr>
          <p:cNvPicPr/>
          <p:nvPr/>
        </p:nvPicPr>
        <p:blipFill>
          <a:blip r:embed="rId2"/>
          <a:stretch>
            <a:fillRect/>
          </a:stretch>
        </p:blipFill>
        <p:spPr>
          <a:xfrm>
            <a:off x="152400" y="1791789"/>
            <a:ext cx="5298659" cy="3746863"/>
          </a:xfrm>
          <a:prstGeom prst="rect">
            <a:avLst/>
          </a:prstGeom>
        </p:spPr>
      </p:pic>
      <p:pic>
        <p:nvPicPr>
          <p:cNvPr id="7" name="Picture 6" descr="Map&#10;&#10;Description automatically generated">
            <a:extLst>
              <a:ext uri="{FF2B5EF4-FFF2-40B4-BE49-F238E27FC236}">
                <a16:creationId xmlns:a16="http://schemas.microsoft.com/office/drawing/2014/main" id="{9D127257-5DAB-D4FB-7CB8-E48D0D0F7E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0" cy="4526372"/>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2B8862E-63C5-C0B8-D51B-148A74B6E0DE}"/>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EED2F2A8-3488-E956-D719-56ADEA1B8A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1" cy="4526372"/>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D96A384-69AB-43A5-031C-6233B2E9440A}"/>
              </a:ext>
            </a:extLst>
          </p:cNvPr>
          <p:cNvPicPr/>
          <p:nvPr/>
        </p:nvPicPr>
        <p:blipFill>
          <a:blip r:embed="rId2"/>
          <a:stretch>
            <a:fillRect/>
          </a:stretch>
        </p:blipFill>
        <p:spPr>
          <a:xfrm>
            <a:off x="152400" y="1783079"/>
            <a:ext cx="5295900" cy="3795173"/>
          </a:xfrm>
          <a:prstGeom prst="rect">
            <a:avLst/>
          </a:prstGeom>
        </p:spPr>
      </p:pic>
      <p:pic>
        <p:nvPicPr>
          <p:cNvPr id="7" name="Picture 6" descr="Map&#10;&#10;Description automatically generated">
            <a:extLst>
              <a:ext uri="{FF2B5EF4-FFF2-40B4-BE49-F238E27FC236}">
                <a16:creationId xmlns:a16="http://schemas.microsoft.com/office/drawing/2014/main" id="{9026FAA7-A6A4-9E47-D19B-F29FEE06D6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D470526-F64E-DDA6-9897-24968E7B836E}"/>
              </a:ext>
            </a:extLst>
          </p:cNvPr>
          <p:cNvPicPr/>
          <p:nvPr/>
        </p:nvPicPr>
        <p:blipFill>
          <a:blip r:embed="rId2"/>
          <a:stretch>
            <a:fillRect/>
          </a:stretch>
        </p:blipFill>
        <p:spPr>
          <a:xfrm>
            <a:off x="159053" y="1774372"/>
            <a:ext cx="5289247" cy="3790406"/>
          </a:xfrm>
          <a:prstGeom prst="rect">
            <a:avLst/>
          </a:prstGeom>
        </p:spPr>
      </p:pic>
      <p:pic>
        <p:nvPicPr>
          <p:cNvPr id="7" name="Picture 6" descr="Map&#10;&#10;Description automatically generated">
            <a:extLst>
              <a:ext uri="{FF2B5EF4-FFF2-40B4-BE49-F238E27FC236}">
                <a16:creationId xmlns:a16="http://schemas.microsoft.com/office/drawing/2014/main" id="{A70E9DB5-F533-B609-8116-383479D9F2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5453" y="1408741"/>
            <a:ext cx="6394147" cy="4521667"/>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943FF1B-98BF-D6FD-3094-4B7101729E19}"/>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A21C3750-628A-DF77-76BC-F01944F752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0221"/>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FA4404A-0EF3-FF81-F6D0-1EB3439FF7FD}"/>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0741F47F-D1C9-25AD-7B47-3E827F214D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2BF1853-9B28-47BD-5583-D9EBE02D4F2A}"/>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A826F85A-1755-027F-F7AD-A1D166C835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6574"/>
            <a:ext cx="6408945" cy="453213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C578629-581A-7DA8-2E79-FFA00330EE4B}"/>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25AA0A29-DD2A-9C8D-6EF7-DBB05A7466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2907" y="1423919"/>
            <a:ext cx="6386693" cy="4516396"/>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467CC7B-DE9B-554B-C3C6-1A01B8FC3255}"/>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0BC772D3-F165-28F0-847D-7A0E24B8D9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0" cy="4526372"/>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42FBED3B-7133-823D-8E07-FB378DA8E1C6}"/>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B275950F-C48B-ED1D-56DA-946EC8B3A8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CD992898-E03F-BD77-350E-A1FB6CD5C637}"/>
              </a:ext>
            </a:extLst>
          </p:cNvPr>
          <p:cNvPicPr/>
          <p:nvPr/>
        </p:nvPicPr>
        <p:blipFill>
          <a:blip r:embed="rId2"/>
          <a:stretch>
            <a:fillRect/>
          </a:stretch>
        </p:blipFill>
        <p:spPr>
          <a:xfrm>
            <a:off x="156412" y="1783318"/>
            <a:ext cx="5291888" cy="3790406"/>
          </a:xfrm>
          <a:prstGeom prst="rect">
            <a:avLst/>
          </a:prstGeom>
        </p:spPr>
      </p:pic>
      <p:pic>
        <p:nvPicPr>
          <p:cNvPr id="8" name="Picture 7" descr="Map&#10;&#10;Description automatically generated">
            <a:extLst>
              <a:ext uri="{FF2B5EF4-FFF2-40B4-BE49-F238E27FC236}">
                <a16:creationId xmlns:a16="http://schemas.microsoft.com/office/drawing/2014/main" id="{7FC038FB-899C-F353-60F0-7445F7597F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2812" y="1416754"/>
            <a:ext cx="6396788" cy="4523534"/>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E56627B9-E556-A0AC-825D-6D29799A2FD5}"/>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A2F3D0C4-753F-E058-C52F-AB4BCB053A63}"/>
              </a:ext>
            </a:extLst>
          </p:cNvPr>
          <p:cNvPicPr/>
          <p:nvPr/>
        </p:nvPicPr>
        <p:blipFill>
          <a:blip r:embed="rId2"/>
          <a:stretch>
            <a:fillRect/>
          </a:stretch>
        </p:blipFill>
        <p:spPr>
          <a:xfrm>
            <a:off x="161358" y="1777637"/>
            <a:ext cx="5299487" cy="3795849"/>
          </a:xfrm>
          <a:prstGeom prst="rect">
            <a:avLst/>
          </a:prstGeom>
        </p:spPr>
      </p:pic>
      <p:pic>
        <p:nvPicPr>
          <p:cNvPr id="8" name="Picture 7" descr="Map&#10;&#10;Description automatically generated">
            <a:extLst>
              <a:ext uri="{FF2B5EF4-FFF2-40B4-BE49-F238E27FC236}">
                <a16:creationId xmlns:a16="http://schemas.microsoft.com/office/drawing/2014/main" id="{84A559E8-B265-E198-9AC8-1C606A287A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75"/>
            <a:ext cx="6400800"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43B8D6AE-985A-27FC-B924-B360F7640685}"/>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7CAE23F-1883-9B00-3360-9729EDEBFF78}"/>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13C4FD9-06D0-1B8F-C401-0D9541FDE2B7}"/>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1987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17434"/>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66688" y="2645062"/>
            <a:ext cx="1198148" cy="2375890"/>
            <a:chOff x="10485745" y="2514421"/>
            <a:chExt cx="1198148" cy="2375890"/>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37583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7</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9031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51442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514421"/>
              <a:ext cx="0" cy="861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268385"/>
              <a:ext cx="0" cy="62192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7802"/>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71458" y="2372993"/>
            <a:ext cx="1198148" cy="2379013"/>
            <a:chOff x="2775759" y="2165794"/>
            <a:chExt cx="1198148" cy="2379013"/>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5928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7</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165794"/>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165794"/>
              <a:ext cx="0" cy="79349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51840"/>
              <a:ext cx="0" cy="69296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BFF19343-1F10-B77E-FA00-19A589A3728B}"/>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BDAF1419-73AC-313D-AE1B-7A1D5A1F1E7E}"/>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FD224B71-E0F6-EE32-86A3-322D98420D8E}"/>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FCCD5235-4130-2DFD-1E51-986BBE268218}"/>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CBFEB72-FF5D-247E-5D78-6C3FBD48D332}"/>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EE4E9CF5-0730-EA74-C2FC-B42733578D3A}"/>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9F6B931D-4792-36CE-91A8-C88763FBB5D1}"/>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4AC65CAA-87CF-7ACE-BCB9-7D6C0FE4220D}"/>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42</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70</cp:revision>
  <dcterms:created xsi:type="dcterms:W3CDTF">2022-07-04T13:32:28Z</dcterms:created>
  <dcterms:modified xsi:type="dcterms:W3CDTF">2023-03-15T23:08:55Z</dcterms:modified>
</cp:coreProperties>
</file>